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2CB891-76C3-45B0-8D17-9F8921A55F25}" v="24" dt="2023-02-07T00:43:23.7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8D2CB891-76C3-45B0-8D17-9F8921A55F25}"/>
    <pc:docChg chg="undo custSel modSld">
      <pc:chgData name="Roberto Gallardo" userId="49a044883f185952" providerId="LiveId" clId="{8D2CB891-76C3-45B0-8D17-9F8921A55F25}" dt="2023-02-07T00:43:39.351" v="521" actId="1076"/>
      <pc:docMkLst>
        <pc:docMk/>
      </pc:docMkLst>
      <pc:sldChg chg="modSp mod">
        <pc:chgData name="Roberto Gallardo" userId="49a044883f185952" providerId="LiveId" clId="{8D2CB891-76C3-45B0-8D17-9F8921A55F25}" dt="2023-02-07T00:04:52.699" v="19" actId="20577"/>
        <pc:sldMkLst>
          <pc:docMk/>
          <pc:sldMk cId="2846901679" sldId="256"/>
        </pc:sldMkLst>
        <pc:spChg chg="mod">
          <ac:chgData name="Roberto Gallardo" userId="49a044883f185952" providerId="LiveId" clId="{8D2CB891-76C3-45B0-8D17-9F8921A55F25}" dt="2023-02-07T00:04:52.699" v="19" actId="20577"/>
          <ac:spMkLst>
            <pc:docMk/>
            <pc:sldMk cId="2846901679" sldId="256"/>
            <ac:spMk id="7" creationId="{B1E0ABEC-554C-720A-2772-F0324C8E93CA}"/>
          </ac:spMkLst>
        </pc:spChg>
      </pc:sldChg>
      <pc:sldChg chg="mod">
        <pc:chgData name="Roberto Gallardo" userId="49a044883f185952" providerId="LiveId" clId="{8D2CB891-76C3-45B0-8D17-9F8921A55F25}" dt="2023-02-07T00:06:56.201" v="44" actId="27918"/>
        <pc:sldMkLst>
          <pc:docMk/>
          <pc:sldMk cId="3231157596" sldId="257"/>
        </pc:sldMkLst>
      </pc:sldChg>
      <pc:sldChg chg="mod">
        <pc:chgData name="Roberto Gallardo" userId="49a044883f185952" providerId="LiveId" clId="{8D2CB891-76C3-45B0-8D17-9F8921A55F25}" dt="2023-02-07T00:05:59.054" v="32" actId="27918"/>
        <pc:sldMkLst>
          <pc:docMk/>
          <pc:sldMk cId="3702837515" sldId="258"/>
        </pc:sldMkLst>
      </pc:sldChg>
      <pc:sldChg chg="mod">
        <pc:chgData name="Roberto Gallardo" userId="49a044883f185952" providerId="LiveId" clId="{8D2CB891-76C3-45B0-8D17-9F8921A55F25}" dt="2023-02-07T00:06:28.420" v="38" actId="27918"/>
        <pc:sldMkLst>
          <pc:docMk/>
          <pc:sldMk cId="2519083202" sldId="259"/>
        </pc:sldMkLst>
      </pc:sldChg>
      <pc:sldChg chg="mod">
        <pc:chgData name="Roberto Gallardo" userId="49a044883f185952" providerId="LiveId" clId="{8D2CB891-76C3-45B0-8D17-9F8921A55F25}" dt="2023-02-07T00:05:25.496" v="26" actId="27918"/>
        <pc:sldMkLst>
          <pc:docMk/>
          <pc:sldMk cId="3877078759" sldId="260"/>
        </pc:sldMkLst>
      </pc:sldChg>
      <pc:sldChg chg="mod">
        <pc:chgData name="Roberto Gallardo" userId="49a044883f185952" providerId="LiveId" clId="{8D2CB891-76C3-45B0-8D17-9F8921A55F25}" dt="2023-02-07T00:08:56.673" v="68" actId="27918"/>
        <pc:sldMkLst>
          <pc:docMk/>
          <pc:sldMk cId="1175010214" sldId="261"/>
        </pc:sldMkLst>
      </pc:sldChg>
      <pc:sldChg chg="addSp modSp mod">
        <pc:chgData name="Roberto Gallardo" userId="49a044883f185952" providerId="LiveId" clId="{8D2CB891-76C3-45B0-8D17-9F8921A55F25}" dt="2023-02-07T00:10:05.692" v="81" actId="1076"/>
        <pc:sldMkLst>
          <pc:docMk/>
          <pc:sldMk cId="1418533539" sldId="271"/>
        </pc:sldMkLst>
        <pc:picChg chg="add mod">
          <ac:chgData name="Roberto Gallardo" userId="49a044883f185952" providerId="LiveId" clId="{8D2CB891-76C3-45B0-8D17-9F8921A55F25}" dt="2023-02-07T00:10:05.692" v="81" actId="1076"/>
          <ac:picMkLst>
            <pc:docMk/>
            <pc:sldMk cId="1418533539" sldId="271"/>
            <ac:picMk id="6" creationId="{56A2872E-62A0-7BC4-A1B1-9551AE21377B}"/>
          </ac:picMkLst>
        </pc:picChg>
      </pc:sldChg>
      <pc:sldChg chg="mod">
        <pc:chgData name="Roberto Gallardo" userId="49a044883f185952" providerId="LiveId" clId="{8D2CB891-76C3-45B0-8D17-9F8921A55F25}" dt="2023-02-07T00:07:30.571" v="50" actId="27918"/>
        <pc:sldMkLst>
          <pc:docMk/>
          <pc:sldMk cId="2653937722" sldId="272"/>
        </pc:sldMkLst>
      </pc:sldChg>
      <pc:sldChg chg="mod">
        <pc:chgData name="Roberto Gallardo" userId="49a044883f185952" providerId="LiveId" clId="{8D2CB891-76C3-45B0-8D17-9F8921A55F25}" dt="2023-02-07T00:33:02.120" v="422" actId="27918"/>
        <pc:sldMkLst>
          <pc:docMk/>
          <pc:sldMk cId="2076698419" sldId="273"/>
        </pc:sldMkLst>
      </pc:sldChg>
      <pc:sldChg chg="mod">
        <pc:chgData name="Roberto Gallardo" userId="49a044883f185952" providerId="LiveId" clId="{8D2CB891-76C3-45B0-8D17-9F8921A55F25}" dt="2023-02-07T00:34:49.530" v="487" actId="27918"/>
        <pc:sldMkLst>
          <pc:docMk/>
          <pc:sldMk cId="3802335161" sldId="274"/>
        </pc:sldMkLst>
      </pc:sldChg>
      <pc:sldChg chg="mod">
        <pc:chgData name="Roberto Gallardo" userId="49a044883f185952" providerId="LiveId" clId="{8D2CB891-76C3-45B0-8D17-9F8921A55F25}" dt="2023-02-07T00:35:13.257" v="493" actId="27918"/>
        <pc:sldMkLst>
          <pc:docMk/>
          <pc:sldMk cId="4292554322" sldId="275"/>
        </pc:sldMkLst>
      </pc:sldChg>
      <pc:sldChg chg="modSp mod">
        <pc:chgData name="Roberto Gallardo" userId="49a044883f185952" providerId="LiveId" clId="{8D2CB891-76C3-45B0-8D17-9F8921A55F25}" dt="2023-02-07T00:34:27.912" v="483" actId="1036"/>
        <pc:sldMkLst>
          <pc:docMk/>
          <pc:sldMk cId="513409896" sldId="276"/>
        </pc:sldMkLst>
        <pc:spChg chg="mod">
          <ac:chgData name="Roberto Gallardo" userId="49a044883f185952" providerId="LiveId" clId="{8D2CB891-76C3-45B0-8D17-9F8921A55F25}" dt="2023-02-07T00:34:27.912" v="483" actId="1036"/>
          <ac:spMkLst>
            <pc:docMk/>
            <pc:sldMk cId="513409896" sldId="276"/>
            <ac:spMk id="21" creationId="{9A68ADBE-AECC-EE60-7E94-3675B33E08AE}"/>
          </ac:spMkLst>
        </pc:spChg>
        <pc:cxnChg chg="mod">
          <ac:chgData name="Roberto Gallardo" userId="49a044883f185952" providerId="LiveId" clId="{8D2CB891-76C3-45B0-8D17-9F8921A55F25}" dt="2023-02-07T00:33:57.274" v="446" actId="1036"/>
          <ac:cxnSpMkLst>
            <pc:docMk/>
            <pc:sldMk cId="513409896" sldId="276"/>
            <ac:cxnSpMk id="22" creationId="{1B423FA0-E4B3-6570-929B-A9283D503787}"/>
          </ac:cxnSpMkLst>
        </pc:cxnChg>
        <pc:cxnChg chg="mod">
          <ac:chgData name="Roberto Gallardo" userId="49a044883f185952" providerId="LiveId" clId="{8D2CB891-76C3-45B0-8D17-9F8921A55F25}" dt="2023-02-07T00:34:15.763" v="474" actId="1035"/>
          <ac:cxnSpMkLst>
            <pc:docMk/>
            <pc:sldMk cId="513409896" sldId="276"/>
            <ac:cxnSpMk id="23" creationId="{D616797E-0044-3804-BA5A-23B8EB309CA5}"/>
          </ac:cxnSpMkLst>
        </pc:cxnChg>
        <pc:cxnChg chg="mod">
          <ac:chgData name="Roberto Gallardo" userId="49a044883f185952" providerId="LiveId" clId="{8D2CB891-76C3-45B0-8D17-9F8921A55F25}" dt="2023-02-07T00:34:27.912" v="483" actId="1036"/>
          <ac:cxnSpMkLst>
            <pc:docMk/>
            <pc:sldMk cId="513409896" sldId="276"/>
            <ac:cxnSpMk id="24" creationId="{20A6256E-6780-BAE0-B803-D02FE024579F}"/>
          </ac:cxnSpMkLst>
        </pc:cxnChg>
        <pc:cxnChg chg="mod">
          <ac:chgData name="Roberto Gallardo" userId="49a044883f185952" providerId="LiveId" clId="{8D2CB891-76C3-45B0-8D17-9F8921A55F25}" dt="2023-02-07T00:34:24.933" v="476" actId="14100"/>
          <ac:cxnSpMkLst>
            <pc:docMk/>
            <pc:sldMk cId="513409896" sldId="276"/>
            <ac:cxnSpMk id="25" creationId="{62B7492E-2C75-E0CD-947E-C582F412F7D7}"/>
          </ac:cxnSpMkLst>
        </pc:cxnChg>
      </pc:sldChg>
      <pc:sldChg chg="mod">
        <pc:chgData name="Roberto Gallardo" userId="49a044883f185952" providerId="LiveId" clId="{8D2CB891-76C3-45B0-8D17-9F8921A55F25}" dt="2023-02-07T00:32:40.614" v="417" actId="27918"/>
        <pc:sldMkLst>
          <pc:docMk/>
          <pc:sldMk cId="349244952" sldId="278"/>
        </pc:sldMkLst>
      </pc:sldChg>
      <pc:sldChg chg="addSp modSp mod">
        <pc:chgData name="Roberto Gallardo" userId="49a044883f185952" providerId="LiveId" clId="{8D2CB891-76C3-45B0-8D17-9F8921A55F25}" dt="2023-02-07T00:15:31.175" v="174" actId="1076"/>
        <pc:sldMkLst>
          <pc:docMk/>
          <pc:sldMk cId="2124848710" sldId="281"/>
        </pc:sldMkLst>
        <pc:picChg chg="add mod">
          <ac:chgData name="Roberto Gallardo" userId="49a044883f185952" providerId="LiveId" clId="{8D2CB891-76C3-45B0-8D17-9F8921A55F25}" dt="2023-02-07T00:15:31.175" v="174" actId="1076"/>
          <ac:picMkLst>
            <pc:docMk/>
            <pc:sldMk cId="2124848710" sldId="281"/>
            <ac:picMk id="5" creationId="{D5034C3D-4C07-657B-7D74-851CD5701452}"/>
          </ac:picMkLst>
        </pc:picChg>
      </pc:sldChg>
      <pc:sldChg chg="addSp modSp mod">
        <pc:chgData name="Roberto Gallardo" userId="49a044883f185952" providerId="LiveId" clId="{8D2CB891-76C3-45B0-8D17-9F8921A55F25}" dt="2023-02-07T00:18:41.460" v="192" actId="1076"/>
        <pc:sldMkLst>
          <pc:docMk/>
          <pc:sldMk cId="2028175529" sldId="282"/>
        </pc:sldMkLst>
        <pc:picChg chg="add mod">
          <ac:chgData name="Roberto Gallardo" userId="49a044883f185952" providerId="LiveId" clId="{8D2CB891-76C3-45B0-8D17-9F8921A55F25}" dt="2023-02-07T00:18:41.460" v="192" actId="1076"/>
          <ac:picMkLst>
            <pc:docMk/>
            <pc:sldMk cId="2028175529" sldId="282"/>
            <ac:picMk id="5" creationId="{8B3A774E-2991-5554-3B0F-3C6175BECBC0}"/>
          </ac:picMkLst>
        </pc:picChg>
      </pc:sldChg>
      <pc:sldChg chg="addSp delSp modSp mod">
        <pc:chgData name="Roberto Gallardo" userId="49a044883f185952" providerId="LiveId" clId="{8D2CB891-76C3-45B0-8D17-9F8921A55F25}" dt="2023-02-07T00:43:39.351" v="521" actId="1076"/>
        <pc:sldMkLst>
          <pc:docMk/>
          <pc:sldMk cId="1326517747" sldId="283"/>
        </pc:sldMkLst>
        <pc:picChg chg="add del mod">
          <ac:chgData name="Roberto Gallardo" userId="49a044883f185952" providerId="LiveId" clId="{8D2CB891-76C3-45B0-8D17-9F8921A55F25}" dt="2023-02-07T00:19:58.809" v="221" actId="21"/>
          <ac:picMkLst>
            <pc:docMk/>
            <pc:sldMk cId="1326517747" sldId="283"/>
            <ac:picMk id="5" creationId="{67CBED67-E1C2-DF3F-7C50-D23C366D2DCE}"/>
          </ac:picMkLst>
        </pc:picChg>
        <pc:picChg chg="add del mod">
          <ac:chgData name="Roberto Gallardo" userId="49a044883f185952" providerId="LiveId" clId="{8D2CB891-76C3-45B0-8D17-9F8921A55F25}" dt="2023-02-07T00:36:08.354" v="494" actId="478"/>
          <ac:picMkLst>
            <pc:docMk/>
            <pc:sldMk cId="1326517747" sldId="283"/>
            <ac:picMk id="9" creationId="{73FB8197-BF44-62FD-EB40-8EA531D9F683}"/>
          </ac:picMkLst>
        </pc:picChg>
        <pc:picChg chg="add del mod">
          <ac:chgData name="Roberto Gallardo" userId="49a044883f185952" providerId="LiveId" clId="{8D2CB891-76C3-45B0-8D17-9F8921A55F25}" dt="2023-02-07T00:36:24.371" v="500" actId="478"/>
          <ac:picMkLst>
            <pc:docMk/>
            <pc:sldMk cId="1326517747" sldId="283"/>
            <ac:picMk id="11" creationId="{ABA1BECF-C8B9-F57D-593E-CB4D64E2EC7C}"/>
          </ac:picMkLst>
        </pc:picChg>
        <pc:picChg chg="add del mod">
          <ac:chgData name="Roberto Gallardo" userId="49a044883f185952" providerId="LiveId" clId="{8D2CB891-76C3-45B0-8D17-9F8921A55F25}" dt="2023-02-07T00:38:02.133" v="504" actId="478"/>
          <ac:picMkLst>
            <pc:docMk/>
            <pc:sldMk cId="1326517747" sldId="283"/>
            <ac:picMk id="13" creationId="{FD5C2A6A-7554-796F-26A6-6738D91A8ECB}"/>
          </ac:picMkLst>
        </pc:picChg>
        <pc:picChg chg="add del mod">
          <ac:chgData name="Roberto Gallardo" userId="49a044883f185952" providerId="LiveId" clId="{8D2CB891-76C3-45B0-8D17-9F8921A55F25}" dt="2023-02-07T00:43:15.692" v="513" actId="478"/>
          <ac:picMkLst>
            <pc:docMk/>
            <pc:sldMk cId="1326517747" sldId="283"/>
            <ac:picMk id="15" creationId="{C8D3633C-3524-91C0-5995-1FAC2269820B}"/>
          </ac:picMkLst>
        </pc:picChg>
        <pc:picChg chg="add mod">
          <ac:chgData name="Roberto Gallardo" userId="49a044883f185952" providerId="LiveId" clId="{8D2CB891-76C3-45B0-8D17-9F8921A55F25}" dt="2023-02-07T00:43:39.351" v="521" actId="1076"/>
          <ac:picMkLst>
            <pc:docMk/>
            <pc:sldMk cId="1326517747" sldId="283"/>
            <ac:picMk id="17" creationId="{D37853D6-95C6-F9D0-8FB6-6C91569CD319}"/>
          </ac:picMkLst>
        </pc:picChg>
      </pc:sldChg>
      <pc:sldChg chg="addSp modSp mod">
        <pc:chgData name="Roberto Gallardo" userId="49a044883f185952" providerId="LiveId" clId="{8D2CB891-76C3-45B0-8D17-9F8921A55F25}" dt="2023-02-07T00:20:53.806" v="238" actId="27918"/>
        <pc:sldMkLst>
          <pc:docMk/>
          <pc:sldMk cId="783739251" sldId="284"/>
        </pc:sldMkLst>
        <pc:picChg chg="add mod">
          <ac:chgData name="Roberto Gallardo" userId="49a044883f185952" providerId="LiveId" clId="{8D2CB891-76C3-45B0-8D17-9F8921A55F25}" dt="2023-02-07T00:20:00.132" v="222"/>
          <ac:picMkLst>
            <pc:docMk/>
            <pc:sldMk cId="783739251" sldId="284"/>
            <ac:picMk id="3" creationId="{B16CCFD3-16BF-281C-BE78-805A0D82CA96}"/>
          </ac:picMkLst>
        </pc:picChg>
      </pc:sldChg>
      <pc:sldChg chg="addSp modSp mod">
        <pc:chgData name="Roberto Gallardo" userId="49a044883f185952" providerId="LiveId" clId="{8D2CB891-76C3-45B0-8D17-9F8921A55F25}" dt="2023-02-07T00:22:04.515" v="257" actId="1076"/>
        <pc:sldMkLst>
          <pc:docMk/>
          <pc:sldMk cId="1676122233" sldId="285"/>
        </pc:sldMkLst>
        <pc:picChg chg="add mod">
          <ac:chgData name="Roberto Gallardo" userId="49a044883f185952" providerId="LiveId" clId="{8D2CB891-76C3-45B0-8D17-9F8921A55F25}" dt="2023-02-07T00:22:04.515" v="257" actId="1076"/>
          <ac:picMkLst>
            <pc:docMk/>
            <pc:sldMk cId="1676122233" sldId="285"/>
            <ac:picMk id="5" creationId="{14B622DC-B068-3767-1E90-851C283344B8}"/>
          </ac:picMkLst>
        </pc:picChg>
      </pc:sldChg>
      <pc:sldChg chg="addSp modSp mod">
        <pc:chgData name="Roberto Gallardo" userId="49a044883f185952" providerId="LiveId" clId="{8D2CB891-76C3-45B0-8D17-9F8921A55F25}" dt="2023-02-07T00:24:15.934" v="283" actId="1076"/>
        <pc:sldMkLst>
          <pc:docMk/>
          <pc:sldMk cId="3100398757" sldId="286"/>
        </pc:sldMkLst>
        <pc:picChg chg="add mod">
          <ac:chgData name="Roberto Gallardo" userId="49a044883f185952" providerId="LiveId" clId="{8D2CB891-76C3-45B0-8D17-9F8921A55F25}" dt="2023-02-07T00:24:15.934" v="283" actId="1076"/>
          <ac:picMkLst>
            <pc:docMk/>
            <pc:sldMk cId="3100398757" sldId="286"/>
            <ac:picMk id="5" creationId="{EE213ACB-7F83-862D-2D9E-3F7276502EF1}"/>
          </ac:picMkLst>
        </pc:picChg>
      </pc:sldChg>
      <pc:sldChg chg="addSp modSp mod">
        <pc:chgData name="Roberto Gallardo" userId="49a044883f185952" providerId="LiveId" clId="{8D2CB891-76C3-45B0-8D17-9F8921A55F25}" dt="2023-02-07T00:25:27.756" v="301" actId="1076"/>
        <pc:sldMkLst>
          <pc:docMk/>
          <pc:sldMk cId="1546475425" sldId="287"/>
        </pc:sldMkLst>
        <pc:picChg chg="add mod">
          <ac:chgData name="Roberto Gallardo" userId="49a044883f185952" providerId="LiveId" clId="{8D2CB891-76C3-45B0-8D17-9F8921A55F25}" dt="2023-02-07T00:25:27.756" v="301" actId="1076"/>
          <ac:picMkLst>
            <pc:docMk/>
            <pc:sldMk cId="1546475425" sldId="287"/>
            <ac:picMk id="5" creationId="{98A52F08-FF32-6021-4D35-ED9B6DC509D2}"/>
          </ac:picMkLst>
        </pc:picChg>
      </pc:sldChg>
      <pc:sldChg chg="addSp modSp mod">
        <pc:chgData name="Roberto Gallardo" userId="49a044883f185952" providerId="LiveId" clId="{8D2CB891-76C3-45B0-8D17-9F8921A55F25}" dt="2023-02-07T00:27:35.039" v="343" actId="1076"/>
        <pc:sldMkLst>
          <pc:docMk/>
          <pc:sldMk cId="1380517306" sldId="288"/>
        </pc:sldMkLst>
        <pc:picChg chg="add mod">
          <ac:chgData name="Roberto Gallardo" userId="49a044883f185952" providerId="LiveId" clId="{8D2CB891-76C3-45B0-8D17-9F8921A55F25}" dt="2023-02-07T00:27:35.039" v="343" actId="1076"/>
          <ac:picMkLst>
            <pc:docMk/>
            <pc:sldMk cId="1380517306" sldId="288"/>
            <ac:picMk id="5" creationId="{AD274E62-4FD6-F91B-3095-F8C00866A17C}"/>
          </ac:picMkLst>
        </pc:picChg>
      </pc:sldChg>
      <pc:sldChg chg="addSp modSp mod">
        <pc:chgData name="Roberto Gallardo" userId="49a044883f185952" providerId="LiveId" clId="{8D2CB891-76C3-45B0-8D17-9F8921A55F25}" dt="2023-02-07T00:28:41.609" v="361" actId="1076"/>
        <pc:sldMkLst>
          <pc:docMk/>
          <pc:sldMk cId="1388671151" sldId="289"/>
        </pc:sldMkLst>
        <pc:picChg chg="add mod">
          <ac:chgData name="Roberto Gallardo" userId="49a044883f185952" providerId="LiveId" clId="{8D2CB891-76C3-45B0-8D17-9F8921A55F25}" dt="2023-02-07T00:28:41.609" v="361" actId="1076"/>
          <ac:picMkLst>
            <pc:docMk/>
            <pc:sldMk cId="1388671151" sldId="289"/>
            <ac:picMk id="5" creationId="{EE2068AD-5EFF-A171-7100-62707DE5A162}"/>
          </ac:picMkLst>
        </pc:picChg>
      </pc:sldChg>
      <pc:sldChg chg="addSp modSp mod">
        <pc:chgData name="Roberto Gallardo" userId="49a044883f185952" providerId="LiveId" clId="{8D2CB891-76C3-45B0-8D17-9F8921A55F25}" dt="2023-02-07T00:30:44.765" v="396" actId="1076"/>
        <pc:sldMkLst>
          <pc:docMk/>
          <pc:sldMk cId="2355376039" sldId="290"/>
        </pc:sldMkLst>
        <pc:picChg chg="add mod">
          <ac:chgData name="Roberto Gallardo" userId="49a044883f185952" providerId="LiveId" clId="{8D2CB891-76C3-45B0-8D17-9F8921A55F25}" dt="2023-02-07T00:30:44.765" v="396" actId="1076"/>
          <ac:picMkLst>
            <pc:docMk/>
            <pc:sldMk cId="2355376039" sldId="290"/>
            <ac:picMk id="8" creationId="{6D74CDF1-F02B-8F48-3F46-E96C21D74749}"/>
          </ac:picMkLst>
        </pc:picChg>
      </pc:sldChg>
      <pc:sldChg chg="addSp modSp mod">
        <pc:chgData name="Roberto Gallardo" userId="49a044883f185952" providerId="LiveId" clId="{8D2CB891-76C3-45B0-8D17-9F8921A55F25}" dt="2023-02-07T00:31:49.364" v="413" actId="1076"/>
        <pc:sldMkLst>
          <pc:docMk/>
          <pc:sldMk cId="3757257295" sldId="291"/>
        </pc:sldMkLst>
        <pc:picChg chg="add mod">
          <ac:chgData name="Roberto Gallardo" userId="49a044883f185952" providerId="LiveId" clId="{8D2CB891-76C3-45B0-8D17-9F8921A55F25}" dt="2023-02-07T00:31:49.364" v="413" actId="1076"/>
          <ac:picMkLst>
            <pc:docMk/>
            <pc:sldMk cId="3757257295" sldId="291"/>
            <ac:picMk id="7" creationId="{2C7B7529-E351-FCDC-C162-F7084A09E032}"/>
          </ac:picMkLst>
        </pc:picChg>
      </pc:sldChg>
      <pc:sldChg chg="addSp modSp mod">
        <pc:chgData name="Roberto Gallardo" userId="49a044883f185952" providerId="LiveId" clId="{8D2CB891-76C3-45B0-8D17-9F8921A55F25}" dt="2023-02-07T00:26:29.171" v="326" actId="1038"/>
        <pc:sldMkLst>
          <pc:docMk/>
          <pc:sldMk cId="1259856727" sldId="292"/>
        </pc:sldMkLst>
        <pc:picChg chg="add mod">
          <ac:chgData name="Roberto Gallardo" userId="49a044883f185952" providerId="LiveId" clId="{8D2CB891-76C3-45B0-8D17-9F8921A55F25}" dt="2023-02-07T00:26:29.171" v="326" actId="1038"/>
          <ac:picMkLst>
            <pc:docMk/>
            <pc:sldMk cId="1259856727" sldId="292"/>
            <ac:picMk id="5" creationId="{DC954EDB-B6F0-917F-5197-0AED70812700}"/>
          </ac:picMkLst>
        </pc:picChg>
      </pc:sldChg>
      <pc:sldChg chg="addSp modSp mod">
        <pc:chgData name="Roberto Gallardo" userId="49a044883f185952" providerId="LiveId" clId="{8D2CB891-76C3-45B0-8D17-9F8921A55F25}" dt="2023-02-07T00:14:21.974" v="154" actId="1076"/>
        <pc:sldMkLst>
          <pc:docMk/>
          <pc:sldMk cId="3324519687" sldId="293"/>
        </pc:sldMkLst>
        <pc:picChg chg="add mod">
          <ac:chgData name="Roberto Gallardo" userId="49a044883f185952" providerId="LiveId" clId="{8D2CB891-76C3-45B0-8D17-9F8921A55F25}" dt="2023-02-07T00:14:21.974" v="154" actId="1076"/>
          <ac:picMkLst>
            <pc:docMk/>
            <pc:sldMk cId="3324519687" sldId="293"/>
            <ac:picMk id="7" creationId="{7FB7311E-1455-EE75-0F47-85684E72B4D5}"/>
          </ac:picMkLst>
        </pc:picChg>
      </pc:sldChg>
      <pc:sldChg chg="addSp modSp mod">
        <pc:chgData name="Roberto Gallardo" userId="49a044883f185952" providerId="LiveId" clId="{8D2CB891-76C3-45B0-8D17-9F8921A55F25}" dt="2023-02-07T00:12:11.167" v="119" actId="1076"/>
        <pc:sldMkLst>
          <pc:docMk/>
          <pc:sldMk cId="3256182630" sldId="295"/>
        </pc:sldMkLst>
        <pc:picChg chg="add mod">
          <ac:chgData name="Roberto Gallardo" userId="49a044883f185952" providerId="LiveId" clId="{8D2CB891-76C3-45B0-8D17-9F8921A55F25}" dt="2023-02-07T00:12:11.167" v="119" actId="1076"/>
          <ac:picMkLst>
            <pc:docMk/>
            <pc:sldMk cId="3256182630" sldId="295"/>
            <ac:picMk id="6" creationId="{A47A15E1-B972-5EE3-D405-03BEAD448FF1}"/>
          </ac:picMkLst>
        </pc:picChg>
      </pc:sldChg>
      <pc:sldChg chg="addSp modSp mod">
        <pc:chgData name="Roberto Gallardo" userId="49a044883f185952" providerId="LiveId" clId="{8D2CB891-76C3-45B0-8D17-9F8921A55F25}" dt="2023-02-07T00:13:12.613" v="136" actId="1076"/>
        <pc:sldMkLst>
          <pc:docMk/>
          <pc:sldMk cId="4057156843" sldId="296"/>
        </pc:sldMkLst>
        <pc:picChg chg="add mod">
          <ac:chgData name="Roberto Gallardo" userId="49a044883f185952" providerId="LiveId" clId="{8D2CB891-76C3-45B0-8D17-9F8921A55F25}" dt="2023-02-07T00:13:12.613" v="136" actId="1076"/>
          <ac:picMkLst>
            <pc:docMk/>
            <pc:sldMk cId="4057156843" sldId="296"/>
            <ac:picMk id="6" creationId="{BC50E41A-5A83-B6FE-F84C-D6E969B9B7D6}"/>
          </ac:picMkLst>
        </pc:picChg>
      </pc:sldChg>
      <pc:sldChg chg="addSp modSp mod">
        <pc:chgData name="Roberto Gallardo" userId="49a044883f185952" providerId="LiveId" clId="{8D2CB891-76C3-45B0-8D17-9F8921A55F25}" dt="2023-02-07T00:10:57.628" v="96" actId="1076"/>
        <pc:sldMkLst>
          <pc:docMk/>
          <pc:sldMk cId="2080110827" sldId="297"/>
        </pc:sldMkLst>
        <pc:picChg chg="add mod">
          <ac:chgData name="Roberto Gallardo" userId="49a044883f185952" providerId="LiveId" clId="{8D2CB891-76C3-45B0-8D17-9F8921A55F25}" dt="2023-02-07T00:10:57.628" v="96" actId="1076"/>
          <ac:picMkLst>
            <pc:docMk/>
            <pc:sldMk cId="2080110827" sldId="297"/>
            <ac:picMk id="6" creationId="{9A921105-CB85-3541-1DAD-C24198FCD813}"/>
          </ac:picMkLst>
        </pc:picChg>
      </pc:sldChg>
      <pc:sldChg chg="addSp modSp mod">
        <pc:chgData name="Roberto Gallardo" userId="49a044883f185952" providerId="LiveId" clId="{8D2CB891-76C3-45B0-8D17-9F8921A55F25}" dt="2023-02-07T00:10:36.155" v="89" actId="1076"/>
        <pc:sldMkLst>
          <pc:docMk/>
          <pc:sldMk cId="1532666867" sldId="298"/>
        </pc:sldMkLst>
        <pc:picChg chg="add mod">
          <ac:chgData name="Roberto Gallardo" userId="49a044883f185952" providerId="LiveId" clId="{8D2CB891-76C3-45B0-8D17-9F8921A55F25}" dt="2023-02-07T00:10:36.155" v="89" actId="1076"/>
          <ac:picMkLst>
            <pc:docMk/>
            <pc:sldMk cId="1532666867" sldId="298"/>
            <ac:picMk id="6" creationId="{97DE9584-4BF9-7736-2320-2B86C6657292}"/>
          </ac:picMkLst>
        </pc:picChg>
      </pc:sldChg>
      <pc:sldChg chg="addSp modSp mod">
        <pc:chgData name="Roberto Gallardo" userId="49a044883f185952" providerId="LiveId" clId="{8D2CB891-76C3-45B0-8D17-9F8921A55F25}" dt="2023-02-07T00:29:47.893" v="378" actId="1076"/>
        <pc:sldMkLst>
          <pc:docMk/>
          <pc:sldMk cId="1951376777" sldId="299"/>
        </pc:sldMkLst>
        <pc:picChg chg="add mod">
          <ac:chgData name="Roberto Gallardo" userId="49a044883f185952" providerId="LiveId" clId="{8D2CB891-76C3-45B0-8D17-9F8921A55F25}" dt="2023-02-07T00:29:47.893" v="378" actId="1076"/>
          <ac:picMkLst>
            <pc:docMk/>
            <pc:sldMk cId="1951376777" sldId="299"/>
            <ac:picMk id="5" creationId="{19817ED3-BC42-9CCF-3C7E-7CEA574D8AFA}"/>
          </ac:picMkLst>
        </pc:picChg>
      </pc:sldChg>
      <pc:sldChg chg="mod">
        <pc:chgData name="Roberto Gallardo" userId="49a044883f185952" providerId="LiveId" clId="{8D2CB891-76C3-45B0-8D17-9F8921A55F25}" dt="2023-02-07T00:07:58.192" v="56" actId="27918"/>
        <pc:sldMkLst>
          <pc:docMk/>
          <pc:sldMk cId="2841628872" sldId="303"/>
        </pc:sldMkLst>
      </pc:sldChg>
      <pc:sldChg chg="mod">
        <pc:chgData name="Roberto Gallardo" userId="49a044883f185952" providerId="LiveId" clId="{8D2CB891-76C3-45B0-8D17-9F8921A55F25}" dt="2023-02-07T00:08:27.249" v="62" actId="27918"/>
        <pc:sldMkLst>
          <pc:docMk/>
          <pc:sldMk cId="3084076302" sldId="304"/>
        </pc:sldMkLst>
      </pc:sldChg>
      <pc:sldChg chg="mod">
        <pc:chgData name="Roberto Gallardo" userId="49a044883f185952" providerId="LiveId" clId="{8D2CB891-76C3-45B0-8D17-9F8921A55F25}" dt="2023-02-07T00:09:26.386" v="74" actId="27918"/>
        <pc:sldMkLst>
          <pc:docMk/>
          <pc:sldMk cId="473712435" sldId="305"/>
        </pc:sldMkLst>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F9AB91B2-BAF9-4239-B4B5-87EA66B6F649}"/>
    <pc:docChg chg="custSel modSld">
      <pc:chgData name="Roberto Gallardo" userId="49a044883f185952" providerId="LiveId" clId="{F9AB91B2-BAF9-4239-B4B5-87EA66B6F649}" dt="2023-02-06T00:11:55.742" v="30" actId="478"/>
      <pc:docMkLst>
        <pc:docMk/>
      </pc:docMkLst>
      <pc:sldChg chg="modSp mod">
        <pc:chgData name="Roberto Gallardo" userId="49a044883f185952" providerId="LiveId" clId="{F9AB91B2-BAF9-4239-B4B5-87EA66B6F649}" dt="2023-02-06T00:10:13.973" v="11" actId="20577"/>
        <pc:sldMkLst>
          <pc:docMk/>
          <pc:sldMk cId="2846901679" sldId="256"/>
        </pc:sldMkLst>
        <pc:spChg chg="mod">
          <ac:chgData name="Roberto Gallardo" userId="49a044883f185952" providerId="LiveId" clId="{F9AB91B2-BAF9-4239-B4B5-87EA66B6F649}" dt="2023-02-06T00:10:13.973" v="11" actId="20577"/>
          <ac:spMkLst>
            <pc:docMk/>
            <pc:sldMk cId="2846901679" sldId="256"/>
            <ac:spMk id="7" creationId="{B1E0ABEC-554C-720A-2772-F0324C8E93CA}"/>
          </ac:spMkLst>
        </pc:spChg>
      </pc:sldChg>
      <pc:sldChg chg="delSp mod">
        <pc:chgData name="Roberto Gallardo" userId="49a044883f185952" providerId="LiveId" clId="{F9AB91B2-BAF9-4239-B4B5-87EA66B6F649}" dt="2023-02-06T00:10:44.363" v="12" actId="478"/>
        <pc:sldMkLst>
          <pc:docMk/>
          <pc:sldMk cId="1418533539" sldId="271"/>
        </pc:sldMkLst>
        <pc:picChg chg="del">
          <ac:chgData name="Roberto Gallardo" userId="49a044883f185952" providerId="LiveId" clId="{F9AB91B2-BAF9-4239-B4B5-87EA66B6F649}" dt="2023-02-06T00:10:44.363" v="12" actId="478"/>
          <ac:picMkLst>
            <pc:docMk/>
            <pc:sldMk cId="1418533539" sldId="271"/>
            <ac:picMk id="7" creationId="{CF74D533-2D85-32B8-6A1F-30678252C584}"/>
          </ac:picMkLst>
        </pc:picChg>
      </pc:sldChg>
      <pc:sldChg chg="delSp mod">
        <pc:chgData name="Roberto Gallardo" userId="49a044883f185952" providerId="LiveId" clId="{F9AB91B2-BAF9-4239-B4B5-87EA66B6F649}" dt="2023-02-06T00:11:08.640" v="18" actId="478"/>
        <pc:sldMkLst>
          <pc:docMk/>
          <pc:sldMk cId="2124848710" sldId="281"/>
        </pc:sldMkLst>
        <pc:picChg chg="del">
          <ac:chgData name="Roberto Gallardo" userId="49a044883f185952" providerId="LiveId" clId="{F9AB91B2-BAF9-4239-B4B5-87EA66B6F649}" dt="2023-02-06T00:11:08.640" v="18" actId="478"/>
          <ac:picMkLst>
            <pc:docMk/>
            <pc:sldMk cId="2124848710" sldId="281"/>
            <ac:picMk id="5" creationId="{48719103-E2CA-CC6F-A9D3-6D2BD284EC6D}"/>
          </ac:picMkLst>
        </pc:picChg>
      </pc:sldChg>
      <pc:sldChg chg="delSp mod">
        <pc:chgData name="Roberto Gallardo" userId="49a044883f185952" providerId="LiveId" clId="{F9AB91B2-BAF9-4239-B4B5-87EA66B6F649}" dt="2023-02-06T00:11:12.405" v="19" actId="478"/>
        <pc:sldMkLst>
          <pc:docMk/>
          <pc:sldMk cId="2028175529" sldId="282"/>
        </pc:sldMkLst>
        <pc:picChg chg="del">
          <ac:chgData name="Roberto Gallardo" userId="49a044883f185952" providerId="LiveId" clId="{F9AB91B2-BAF9-4239-B4B5-87EA66B6F649}" dt="2023-02-06T00:11:12.405" v="19" actId="478"/>
          <ac:picMkLst>
            <pc:docMk/>
            <pc:sldMk cId="2028175529" sldId="282"/>
            <ac:picMk id="8" creationId="{CFE023EC-0FF0-6406-85A7-175F15D08D2F}"/>
          </ac:picMkLst>
        </pc:picChg>
      </pc:sldChg>
      <pc:sldChg chg="delSp mod">
        <pc:chgData name="Roberto Gallardo" userId="49a044883f185952" providerId="LiveId" clId="{F9AB91B2-BAF9-4239-B4B5-87EA66B6F649}" dt="2023-02-06T00:11:17.242" v="20" actId="478"/>
        <pc:sldMkLst>
          <pc:docMk/>
          <pc:sldMk cId="1326517747" sldId="283"/>
        </pc:sldMkLst>
        <pc:picChg chg="del">
          <ac:chgData name="Roberto Gallardo" userId="49a044883f185952" providerId="LiveId" clId="{F9AB91B2-BAF9-4239-B4B5-87EA66B6F649}" dt="2023-02-06T00:11:17.242" v="20" actId="478"/>
          <ac:picMkLst>
            <pc:docMk/>
            <pc:sldMk cId="1326517747" sldId="283"/>
            <ac:picMk id="8" creationId="{9A29E625-A19A-7665-D4A2-F80734D2096C}"/>
          </ac:picMkLst>
        </pc:picChg>
      </pc:sldChg>
      <pc:sldChg chg="delSp mod">
        <pc:chgData name="Roberto Gallardo" userId="49a044883f185952" providerId="LiveId" clId="{F9AB91B2-BAF9-4239-B4B5-87EA66B6F649}" dt="2023-02-06T00:11:21.050" v="21" actId="478"/>
        <pc:sldMkLst>
          <pc:docMk/>
          <pc:sldMk cId="783739251" sldId="284"/>
        </pc:sldMkLst>
        <pc:picChg chg="del">
          <ac:chgData name="Roberto Gallardo" userId="49a044883f185952" providerId="LiveId" clId="{F9AB91B2-BAF9-4239-B4B5-87EA66B6F649}" dt="2023-02-06T00:11:21.050" v="21" actId="478"/>
          <ac:picMkLst>
            <pc:docMk/>
            <pc:sldMk cId="783739251" sldId="284"/>
            <ac:picMk id="8" creationId="{63CDE078-CCBF-8497-C770-4245D0782293}"/>
          </ac:picMkLst>
        </pc:picChg>
      </pc:sldChg>
      <pc:sldChg chg="delSp mod">
        <pc:chgData name="Roberto Gallardo" userId="49a044883f185952" providerId="LiveId" clId="{F9AB91B2-BAF9-4239-B4B5-87EA66B6F649}" dt="2023-02-06T00:11:24.362" v="22" actId="478"/>
        <pc:sldMkLst>
          <pc:docMk/>
          <pc:sldMk cId="1676122233" sldId="285"/>
        </pc:sldMkLst>
        <pc:picChg chg="del">
          <ac:chgData name="Roberto Gallardo" userId="49a044883f185952" providerId="LiveId" clId="{F9AB91B2-BAF9-4239-B4B5-87EA66B6F649}" dt="2023-02-06T00:11:24.362" v="22" actId="478"/>
          <ac:picMkLst>
            <pc:docMk/>
            <pc:sldMk cId="1676122233" sldId="285"/>
            <ac:picMk id="8" creationId="{301A97BC-685B-5788-F49B-36F9BF8D7A6A}"/>
          </ac:picMkLst>
        </pc:picChg>
      </pc:sldChg>
      <pc:sldChg chg="delSp mod">
        <pc:chgData name="Roberto Gallardo" userId="49a044883f185952" providerId="LiveId" clId="{F9AB91B2-BAF9-4239-B4B5-87EA66B6F649}" dt="2023-02-06T00:11:28.151" v="23" actId="478"/>
        <pc:sldMkLst>
          <pc:docMk/>
          <pc:sldMk cId="3100398757" sldId="286"/>
        </pc:sldMkLst>
        <pc:picChg chg="del">
          <ac:chgData name="Roberto Gallardo" userId="49a044883f185952" providerId="LiveId" clId="{F9AB91B2-BAF9-4239-B4B5-87EA66B6F649}" dt="2023-02-06T00:11:28.151" v="23" actId="478"/>
          <ac:picMkLst>
            <pc:docMk/>
            <pc:sldMk cId="3100398757" sldId="286"/>
            <ac:picMk id="8" creationId="{1B94F364-0690-10E3-7A2A-1C3CCDD3C930}"/>
          </ac:picMkLst>
        </pc:picChg>
      </pc:sldChg>
      <pc:sldChg chg="delSp mod">
        <pc:chgData name="Roberto Gallardo" userId="49a044883f185952" providerId="LiveId" clId="{F9AB91B2-BAF9-4239-B4B5-87EA66B6F649}" dt="2023-02-06T00:11:32.001" v="24" actId="478"/>
        <pc:sldMkLst>
          <pc:docMk/>
          <pc:sldMk cId="1546475425" sldId="287"/>
        </pc:sldMkLst>
        <pc:picChg chg="del">
          <ac:chgData name="Roberto Gallardo" userId="49a044883f185952" providerId="LiveId" clId="{F9AB91B2-BAF9-4239-B4B5-87EA66B6F649}" dt="2023-02-06T00:11:32.001" v="24" actId="478"/>
          <ac:picMkLst>
            <pc:docMk/>
            <pc:sldMk cId="1546475425" sldId="287"/>
            <ac:picMk id="8" creationId="{CAA855F8-29C0-6C54-C3A3-891AD3FBAC60}"/>
          </ac:picMkLst>
        </pc:picChg>
      </pc:sldChg>
      <pc:sldChg chg="delSp mod">
        <pc:chgData name="Roberto Gallardo" userId="49a044883f185952" providerId="LiveId" clId="{F9AB91B2-BAF9-4239-B4B5-87EA66B6F649}" dt="2023-02-06T00:11:41.014" v="26" actId="478"/>
        <pc:sldMkLst>
          <pc:docMk/>
          <pc:sldMk cId="1380517306" sldId="288"/>
        </pc:sldMkLst>
        <pc:picChg chg="del">
          <ac:chgData name="Roberto Gallardo" userId="49a044883f185952" providerId="LiveId" clId="{F9AB91B2-BAF9-4239-B4B5-87EA66B6F649}" dt="2023-02-06T00:11:41.014" v="26" actId="478"/>
          <ac:picMkLst>
            <pc:docMk/>
            <pc:sldMk cId="1380517306" sldId="288"/>
            <ac:picMk id="8" creationId="{1269BCA3-CB6D-5913-CFF9-17C7374E8DE0}"/>
          </ac:picMkLst>
        </pc:picChg>
      </pc:sldChg>
      <pc:sldChg chg="delSp mod">
        <pc:chgData name="Roberto Gallardo" userId="49a044883f185952" providerId="LiveId" clId="{F9AB91B2-BAF9-4239-B4B5-87EA66B6F649}" dt="2023-02-06T00:11:44.255" v="27" actId="478"/>
        <pc:sldMkLst>
          <pc:docMk/>
          <pc:sldMk cId="1388671151" sldId="289"/>
        </pc:sldMkLst>
        <pc:picChg chg="del">
          <ac:chgData name="Roberto Gallardo" userId="49a044883f185952" providerId="LiveId" clId="{F9AB91B2-BAF9-4239-B4B5-87EA66B6F649}" dt="2023-02-06T00:11:44.255" v="27" actId="478"/>
          <ac:picMkLst>
            <pc:docMk/>
            <pc:sldMk cId="1388671151" sldId="289"/>
            <ac:picMk id="8" creationId="{6D17C1DE-5762-AC51-F9BA-92346D9A815C}"/>
          </ac:picMkLst>
        </pc:picChg>
      </pc:sldChg>
      <pc:sldChg chg="delSp mod">
        <pc:chgData name="Roberto Gallardo" userId="49a044883f185952" providerId="LiveId" clId="{F9AB91B2-BAF9-4239-B4B5-87EA66B6F649}" dt="2023-02-06T00:11:52.500" v="29" actId="478"/>
        <pc:sldMkLst>
          <pc:docMk/>
          <pc:sldMk cId="2355376039" sldId="290"/>
        </pc:sldMkLst>
        <pc:picChg chg="del">
          <ac:chgData name="Roberto Gallardo" userId="49a044883f185952" providerId="LiveId" clId="{F9AB91B2-BAF9-4239-B4B5-87EA66B6F649}" dt="2023-02-06T00:11:52.500" v="29" actId="478"/>
          <ac:picMkLst>
            <pc:docMk/>
            <pc:sldMk cId="2355376039" sldId="290"/>
            <ac:picMk id="8" creationId="{5DA0350F-FE6D-53CB-2AFD-AA6A8980488E}"/>
          </ac:picMkLst>
        </pc:picChg>
      </pc:sldChg>
      <pc:sldChg chg="delSp mod">
        <pc:chgData name="Roberto Gallardo" userId="49a044883f185952" providerId="LiveId" clId="{F9AB91B2-BAF9-4239-B4B5-87EA66B6F649}" dt="2023-02-06T00:11:55.742" v="30" actId="478"/>
        <pc:sldMkLst>
          <pc:docMk/>
          <pc:sldMk cId="3757257295" sldId="291"/>
        </pc:sldMkLst>
        <pc:picChg chg="del">
          <ac:chgData name="Roberto Gallardo" userId="49a044883f185952" providerId="LiveId" clId="{F9AB91B2-BAF9-4239-B4B5-87EA66B6F649}" dt="2023-02-06T00:11:55.742" v="30" actId="478"/>
          <ac:picMkLst>
            <pc:docMk/>
            <pc:sldMk cId="3757257295" sldId="291"/>
            <ac:picMk id="8" creationId="{AEE7ABCB-D0B0-3A13-45A8-D2CBAAA77EA6}"/>
          </ac:picMkLst>
        </pc:picChg>
      </pc:sldChg>
      <pc:sldChg chg="delSp mod">
        <pc:chgData name="Roberto Gallardo" userId="49a044883f185952" providerId="LiveId" clId="{F9AB91B2-BAF9-4239-B4B5-87EA66B6F649}" dt="2023-02-06T00:11:36.278" v="25" actId="478"/>
        <pc:sldMkLst>
          <pc:docMk/>
          <pc:sldMk cId="1259856727" sldId="292"/>
        </pc:sldMkLst>
        <pc:picChg chg="del">
          <ac:chgData name="Roberto Gallardo" userId="49a044883f185952" providerId="LiveId" clId="{F9AB91B2-BAF9-4239-B4B5-87EA66B6F649}" dt="2023-02-06T00:11:36.278" v="25" actId="478"/>
          <ac:picMkLst>
            <pc:docMk/>
            <pc:sldMk cId="1259856727" sldId="292"/>
            <ac:picMk id="8" creationId="{CF00FD28-5E38-7692-A3B9-F2069E86DAA8}"/>
          </ac:picMkLst>
        </pc:picChg>
      </pc:sldChg>
      <pc:sldChg chg="delSp mod">
        <pc:chgData name="Roberto Gallardo" userId="49a044883f185952" providerId="LiveId" clId="{F9AB91B2-BAF9-4239-B4B5-87EA66B6F649}" dt="2023-02-06T00:11:04.485" v="17" actId="478"/>
        <pc:sldMkLst>
          <pc:docMk/>
          <pc:sldMk cId="3324519687" sldId="293"/>
        </pc:sldMkLst>
        <pc:picChg chg="del">
          <ac:chgData name="Roberto Gallardo" userId="49a044883f185952" providerId="LiveId" clId="{F9AB91B2-BAF9-4239-B4B5-87EA66B6F649}" dt="2023-02-06T00:11:04.485" v="17" actId="478"/>
          <ac:picMkLst>
            <pc:docMk/>
            <pc:sldMk cId="3324519687" sldId="293"/>
            <ac:picMk id="9" creationId="{857220EB-001E-BBC5-093B-8C24596738CE}"/>
          </ac:picMkLst>
        </pc:picChg>
      </pc:sldChg>
      <pc:sldChg chg="delSp mod">
        <pc:chgData name="Roberto Gallardo" userId="49a044883f185952" providerId="LiveId" clId="{F9AB91B2-BAF9-4239-B4B5-87EA66B6F649}" dt="2023-02-06T00:10:54.672" v="15" actId="478"/>
        <pc:sldMkLst>
          <pc:docMk/>
          <pc:sldMk cId="3256182630" sldId="295"/>
        </pc:sldMkLst>
        <pc:picChg chg="del">
          <ac:chgData name="Roberto Gallardo" userId="49a044883f185952" providerId="LiveId" clId="{F9AB91B2-BAF9-4239-B4B5-87EA66B6F649}" dt="2023-02-06T00:10:54.672" v="15" actId="478"/>
          <ac:picMkLst>
            <pc:docMk/>
            <pc:sldMk cId="3256182630" sldId="295"/>
            <ac:picMk id="6" creationId="{93D8D6F0-D0A9-FCE5-B024-33062FB98A83}"/>
          </ac:picMkLst>
        </pc:picChg>
      </pc:sldChg>
      <pc:sldChg chg="delSp mod">
        <pc:chgData name="Roberto Gallardo" userId="49a044883f185952" providerId="LiveId" clId="{F9AB91B2-BAF9-4239-B4B5-87EA66B6F649}" dt="2023-02-06T00:10:58.939" v="16" actId="478"/>
        <pc:sldMkLst>
          <pc:docMk/>
          <pc:sldMk cId="4057156843" sldId="296"/>
        </pc:sldMkLst>
        <pc:picChg chg="del">
          <ac:chgData name="Roberto Gallardo" userId="49a044883f185952" providerId="LiveId" clId="{F9AB91B2-BAF9-4239-B4B5-87EA66B6F649}" dt="2023-02-06T00:10:58.939" v="16" actId="478"/>
          <ac:picMkLst>
            <pc:docMk/>
            <pc:sldMk cId="4057156843" sldId="296"/>
            <ac:picMk id="7" creationId="{98D345FF-36E0-779A-A6AA-657BDCF6BCE3}"/>
          </ac:picMkLst>
        </pc:picChg>
      </pc:sldChg>
      <pc:sldChg chg="delSp mod">
        <pc:chgData name="Roberto Gallardo" userId="49a044883f185952" providerId="LiveId" clId="{F9AB91B2-BAF9-4239-B4B5-87EA66B6F649}" dt="2023-02-06T00:10:51.285" v="14" actId="478"/>
        <pc:sldMkLst>
          <pc:docMk/>
          <pc:sldMk cId="2080110827" sldId="297"/>
        </pc:sldMkLst>
        <pc:picChg chg="del">
          <ac:chgData name="Roberto Gallardo" userId="49a044883f185952" providerId="LiveId" clId="{F9AB91B2-BAF9-4239-B4B5-87EA66B6F649}" dt="2023-02-06T00:10:51.285" v="14" actId="478"/>
          <ac:picMkLst>
            <pc:docMk/>
            <pc:sldMk cId="2080110827" sldId="297"/>
            <ac:picMk id="7" creationId="{FA7AA24C-289D-D5F1-A79D-1877B250B48C}"/>
          </ac:picMkLst>
        </pc:picChg>
      </pc:sldChg>
      <pc:sldChg chg="delSp mod">
        <pc:chgData name="Roberto Gallardo" userId="49a044883f185952" providerId="LiveId" clId="{F9AB91B2-BAF9-4239-B4B5-87EA66B6F649}" dt="2023-02-06T00:10:47.418" v="13" actId="478"/>
        <pc:sldMkLst>
          <pc:docMk/>
          <pc:sldMk cId="1532666867" sldId="298"/>
        </pc:sldMkLst>
        <pc:picChg chg="del">
          <ac:chgData name="Roberto Gallardo" userId="49a044883f185952" providerId="LiveId" clId="{F9AB91B2-BAF9-4239-B4B5-87EA66B6F649}" dt="2023-02-06T00:10:47.418" v="13" actId="478"/>
          <ac:picMkLst>
            <pc:docMk/>
            <pc:sldMk cId="1532666867" sldId="298"/>
            <ac:picMk id="6" creationId="{DF76BE9D-2515-C01B-6750-0A70245BBEC0}"/>
          </ac:picMkLst>
        </pc:picChg>
      </pc:sldChg>
      <pc:sldChg chg="delSp mod">
        <pc:chgData name="Roberto Gallardo" userId="49a044883f185952" providerId="LiveId" clId="{F9AB91B2-BAF9-4239-B4B5-87EA66B6F649}" dt="2023-02-06T00:11:47.811" v="28" actId="478"/>
        <pc:sldMkLst>
          <pc:docMk/>
          <pc:sldMk cId="1951376777" sldId="299"/>
        </pc:sldMkLst>
        <pc:picChg chg="del">
          <ac:chgData name="Roberto Gallardo" userId="49a044883f185952" providerId="LiveId" clId="{F9AB91B2-BAF9-4239-B4B5-87EA66B6F649}" dt="2023-02-06T00:11:47.811" v="28" actId="478"/>
          <ac:picMkLst>
            <pc:docMk/>
            <pc:sldMk cId="1951376777" sldId="299"/>
            <ac:picMk id="5" creationId="{B3B698FB-4AEA-CDBC-DBD6-2BFDA8D589E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Mid-Carolina</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9451420187101</c:v>
                </c:pt>
                <c:pt idx="2">
                  <c:v>1.0320667550783265</c:v>
                </c:pt>
                <c:pt idx="3">
                  <c:v>1.0633075366237177</c:v>
                </c:pt>
                <c:pt idx="4">
                  <c:v>1.0762281226032018</c:v>
                </c:pt>
                <c:pt idx="5">
                  <c:v>1.0932503597602112</c:v>
                </c:pt>
                <c:pt idx="6">
                  <c:v>1.1080332338915924</c:v>
                </c:pt>
                <c:pt idx="7">
                  <c:v>1.1289596068160772</c:v>
                </c:pt>
                <c:pt idx="8">
                  <c:v>1.1389995459710704</c:v>
                </c:pt>
                <c:pt idx="9">
                  <c:v>1.1544647460644413</c:v>
                </c:pt>
                <c:pt idx="10">
                  <c:v>1.1682805642271377</c:v>
                </c:pt>
                <c:pt idx="11">
                  <c:v>1.1742419384213645</c:v>
                </c:pt>
                <c:pt idx="12">
                  <c:v>1.1843229197394849</c:v>
                </c:pt>
                <c:pt idx="13">
                  <c:v>1.1821502502289383</c:v>
                </c:pt>
                <c:pt idx="14">
                  <c:v>1.196281580020675</c:v>
                </c:pt>
                <c:pt idx="15">
                  <c:v>1.1884810038913101</c:v>
                </c:pt>
                <c:pt idx="16">
                  <c:v>1.2032920945098411</c:v>
                </c:pt>
                <c:pt idx="17">
                  <c:v>1.214907026674841</c:v>
                </c:pt>
                <c:pt idx="18">
                  <c:v>1.2300644105447578</c:v>
                </c:pt>
                <c:pt idx="19">
                  <c:v>1.2500288577709489</c:v>
                </c:pt>
                <c:pt idx="20">
                  <c:v>1.2991948040621482</c:v>
                </c:pt>
                <c:pt idx="21">
                  <c:v>1.3164145566292071</c:v>
                </c:pt>
                <c:pt idx="22">
                  <c:v>1.3233455519273143</c:v>
                </c:pt>
                <c:pt idx="23">
                  <c:v>1.3388030566150988</c:v>
                </c:pt>
                <c:pt idx="24">
                  <c:v>1.3411681112653042</c:v>
                </c:pt>
                <c:pt idx="25">
                  <c:v>1.3410424196407271</c:v>
                </c:pt>
                <c:pt idx="26">
                  <c:v>1.3519955469253007</c:v>
                </c:pt>
                <c:pt idx="27">
                  <c:v>1.3509335809543841</c:v>
                </c:pt>
                <c:pt idx="28">
                  <c:v>1.3623715187908978</c:v>
                </c:pt>
                <c:pt idx="29">
                  <c:v>1.3723883717291321</c:v>
                </c:pt>
                <c:pt idx="30">
                  <c:v>1.3522161485521094</c:v>
                </c:pt>
                <c:pt idx="31">
                  <c:v>1.3607118763194415</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4.3515820855071485</c:v>
                </c:pt>
                <c:pt idx="1">
                  <c:v>20.228647580258745</c:v>
                </c:pt>
                <c:pt idx="2">
                  <c:v>20.352047035204706</c:v>
                </c:pt>
                <c:pt idx="3">
                  <c:v>18.5</c:v>
                </c:pt>
                <c:pt idx="4">
                  <c:v>50.9</c:v>
                </c:pt>
                <c:pt idx="5">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1.1721661359170676</c:v>
                </c:pt>
                <c:pt idx="1">
                  <c:v>5.4414230953521807</c:v>
                </c:pt>
                <c:pt idx="2">
                  <c:v>1.5573839057383905</c:v>
                </c:pt>
                <c:pt idx="3">
                  <c:v>2.5</c:v>
                </c:pt>
                <c:pt idx="4">
                  <c:v>18</c:v>
                </c:pt>
                <c:pt idx="5">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84.416288366420488</c:v>
                </c:pt>
                <c:pt idx="1">
                  <c:v>63.693399616674654</c:v>
                </c:pt>
                <c:pt idx="2">
                  <c:v>22.777598527759853</c:v>
                </c:pt>
                <c:pt idx="3">
                  <c:v>40</c:v>
                </c:pt>
                <c:pt idx="4">
                  <c:v>40.700000000000003</c:v>
                </c:pt>
                <c:pt idx="5">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13.923381319506037</c:v>
                </c:pt>
                <c:pt idx="1">
                  <c:v>15.009280523484444</c:v>
                </c:pt>
                <c:pt idx="2">
                  <c:v>16.256416045259265</c:v>
                </c:pt>
                <c:pt idx="3">
                  <c:v>15.6</c:v>
                </c:pt>
                <c:pt idx="4">
                  <c:v>13.2</c:v>
                </c:pt>
                <c:pt idx="5">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7.1614058652339372</c:v>
                </c:pt>
                <c:pt idx="1">
                  <c:v>12.359383148327497</c:v>
                </c:pt>
                <c:pt idx="2">
                  <c:v>18.759464314135649</c:v>
                </c:pt>
                <c:pt idx="3">
                  <c:v>15.6</c:v>
                </c:pt>
                <c:pt idx="4">
                  <c:v>8</c:v>
                </c:pt>
                <c:pt idx="5">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49.87724490482276</c:v>
                </c:pt>
                <c:pt idx="1">
                  <c:v>39.678675022919577</c:v>
                </c:pt>
                <c:pt idx="2">
                  <c:v>58.438404949907365</c:v>
                </c:pt>
                <c:pt idx="3">
                  <c:v>52.7</c:v>
                </c:pt>
                <c:pt idx="4">
                  <c:v>37.9</c:v>
                </c:pt>
                <c:pt idx="5">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21.400419716435483</c:v>
                </c:pt>
                <c:pt idx="1">
                  <c:v>14.946054254007398</c:v>
                </c:pt>
                <c:pt idx="2">
                  <c:v>18.042646427398783</c:v>
                </c:pt>
                <c:pt idx="3">
                  <c:v>17.600000000000001</c:v>
                </c:pt>
                <c:pt idx="4">
                  <c:v>13.7</c:v>
                </c:pt>
                <c:pt idx="5">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45.120060147549459</c:v>
                </c:pt>
                <c:pt idx="1">
                  <c:v>34.71481678173128</c:v>
                </c:pt>
                <c:pt idx="2">
                  <c:v>32.371082951149752</c:v>
                </c:pt>
                <c:pt idx="3">
                  <c:v>34.299999999999997</c:v>
                </c:pt>
                <c:pt idx="4">
                  <c:v>39.700000000000003</c:v>
                </c:pt>
                <c:pt idx="5">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32.724660495277483</c:v>
                </c:pt>
                <c:pt idx="1">
                  <c:v>35.543233138608599</c:v>
                </c:pt>
                <c:pt idx="2">
                  <c:v>31.565350996340619</c:v>
                </c:pt>
                <c:pt idx="3">
                  <c:v>32.700000000000003</c:v>
                </c:pt>
                <c:pt idx="4">
                  <c:v>30</c:v>
                </c:pt>
                <c:pt idx="5">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14.910013627179175</c:v>
                </c:pt>
                <c:pt idx="1">
                  <c:v>11.789697291556028</c:v>
                </c:pt>
                <c:pt idx="2">
                  <c:v>15.132872049729142</c:v>
                </c:pt>
                <c:pt idx="3">
                  <c:v>14.3</c:v>
                </c:pt>
                <c:pt idx="4">
                  <c:v>12</c:v>
                </c:pt>
                <c:pt idx="5">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59.446533948645595</c:v>
                </c:pt>
                <c:pt idx="1">
                  <c:v>62.061419373856829</c:v>
                </c:pt>
                <c:pt idx="2">
                  <c:v>47.274216724574437</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1.30576713819368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AC-4C0F-91E4-EC4375DD300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12.190838839052297</c:v>
                </c:pt>
                <c:pt idx="1">
                  <c:v>20.840642568328686</c:v>
                </c:pt>
                <c:pt idx="2">
                  <c:v>31.16983828907253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D$2:$D$4</c:f>
              <c:numCache>
                <c:formatCode>#,##0.0</c:formatCode>
                <c:ptCount val="3"/>
                <c:pt idx="0">
                  <c:v>5.6273166828741399</c:v>
                </c:pt>
                <c:pt idx="1">
                  <c:v>3.0106138484127842</c:v>
                </c:pt>
                <c:pt idx="2">
                  <c:v>1.8894785259748654</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E$2:$E$4</c:f>
              <c:numCache>
                <c:formatCode>#,##0.0</c:formatCode>
                <c:ptCount val="3"/>
                <c:pt idx="0">
                  <c:v>18.441695441790866</c:v>
                </c:pt>
                <c:pt idx="1">
                  <c:v>9.8073487256031662</c:v>
                </c:pt>
                <c:pt idx="2">
                  <c:v>13.461655427237684</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F$2:$F$4</c:f>
              <c:numCache>
                <c:formatCode>#,##0.0</c:formatCode>
                <c:ptCount val="3"/>
                <c:pt idx="0">
                  <c:v>4.2936150876370931</c:v>
                </c:pt>
                <c:pt idx="1">
                  <c:v>4.2799754837985375</c:v>
                </c:pt>
                <c:pt idx="2">
                  <c:v>6.2048110331404729</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9.8523575704580626</c:v>
                </c:pt>
                <c:pt idx="1">
                  <c:v>5.8350992680764087</c:v>
                </c:pt>
                <c:pt idx="2">
                  <c:v>6.5585073535142788</c:v>
                </c:pt>
                <c:pt idx="3">
                  <c:v>6.7</c:v>
                </c:pt>
                <c:pt idx="4">
                  <c:v>8.1999999999999993</c:v>
                </c:pt>
                <c:pt idx="5">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10.630163173346077</c:v>
                </c:pt>
                <c:pt idx="1">
                  <c:v>11.743278404163053</c:v>
                </c:pt>
                <c:pt idx="2">
                  <c:v>3.9904440629539373</c:v>
                </c:pt>
                <c:pt idx="3">
                  <c:v>6.7</c:v>
                </c:pt>
                <c:pt idx="4">
                  <c:v>5.7</c:v>
                </c:pt>
                <c:pt idx="5">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26.227141482194416</c:v>
                </c:pt>
                <c:pt idx="1">
                  <c:v>17.494494739417664</c:v>
                </c:pt>
                <c:pt idx="2">
                  <c:v>17.241466947924874</c:v>
                </c:pt>
                <c:pt idx="3">
                  <c:v>18.7</c:v>
                </c:pt>
                <c:pt idx="4">
                  <c:v>15.9</c:v>
                </c:pt>
                <c:pt idx="5">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4.2624963048560911</c:v>
                </c:pt>
                <c:pt idx="1">
                  <c:v>4.4973691723153859</c:v>
                </c:pt>
                <c:pt idx="2">
                  <c:v>5.0015683017250314</c:v>
                </c:pt>
                <c:pt idx="3">
                  <c:v>4.5999999999999996</c:v>
                </c:pt>
                <c:pt idx="4">
                  <c:v>6.8</c:v>
                </c:pt>
                <c:pt idx="5">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71.100982096705977</c:v>
                </c:pt>
                <c:pt idx="1">
                  <c:v>14.355815188528942</c:v>
                </c:pt>
                <c:pt idx="2">
                  <c:v>12.26050272455616</c:v>
                </c:pt>
                <c:pt idx="3">
                  <c:v>19.2</c:v>
                </c:pt>
                <c:pt idx="4">
                  <c:v>20.7</c:v>
                </c:pt>
                <c:pt idx="5">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ampson</c:v>
                </c:pt>
                <c:pt idx="1">
                  <c:v>Harnett</c:v>
                </c:pt>
                <c:pt idx="2">
                  <c:v>Cumberland</c:v>
                </c:pt>
                <c:pt idx="3">
                  <c:v>Mid-Carolina</c:v>
                </c:pt>
                <c:pt idx="4">
                  <c:v>North Carolina</c:v>
                </c:pt>
                <c:pt idx="5">
                  <c:v>United States</c:v>
                </c:pt>
              </c:strCache>
            </c:strRef>
          </c:cat>
          <c:val>
            <c:numRef>
              <c:f>Sheet1!$B$2:$B$7</c:f>
              <c:numCache>
                <c:formatCode>0.0</c:formatCode>
                <c:ptCount val="6"/>
                <c:pt idx="0">
                  <c:v>92.166721488651845</c:v>
                </c:pt>
                <c:pt idx="1">
                  <c:v>34.472650026553367</c:v>
                </c:pt>
                <c:pt idx="2">
                  <c:v>25.574873360072871</c:v>
                </c:pt>
                <c:pt idx="3">
                  <c:v>35.1</c:v>
                </c:pt>
                <c:pt idx="4">
                  <c:v>29.7</c:v>
                </c:pt>
                <c:pt idx="5">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0</c:formatCode>
                <c:ptCount val="3"/>
                <c:pt idx="0">
                  <c:v>3.9456284717007351</c:v>
                </c:pt>
                <c:pt idx="1">
                  <c:v>4.4296238962062287</c:v>
                </c:pt>
                <c:pt idx="2">
                  <c:v>3.28</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9.6993852410295798</c:v>
                </c:pt>
                <c:pt idx="1">
                  <c:v>10.285900434333007</c:v>
                </c:pt>
                <c:pt idx="2" formatCode="#,##0.0">
                  <c:v>4.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9.5092908053327836</c:v>
                </c:pt>
                <c:pt idx="1">
                  <c:v>10.158199176779275</c:v>
                </c:pt>
                <c:pt idx="2" formatCode="#,##0.0">
                  <c:v>4.7</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35.163543124718231</c:v>
                </c:pt>
                <c:pt idx="1">
                  <c:v>32.670704756158578</c:v>
                </c:pt>
                <c:pt idx="2">
                  <c:v>27.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9.5092908053327836</c:v>
                </c:pt>
                <c:pt idx="1">
                  <c:v>10.158199176779275</c:v>
                </c:pt>
                <c:pt idx="2">
                  <c:v>4.7</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3.4315339366940902</c:v>
                </c:pt>
                <c:pt idx="1">
                  <c:v>3.1906212529243381</c:v>
                </c:pt>
                <c:pt idx="2" formatCode="#,##0.0">
                  <c:v>1.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22.513903012548795</c:v>
                </c:pt>
                <c:pt idx="1">
                  <c:v>22.208065151207357</c:v>
                </c:pt>
                <c:pt idx="2">
                  <c:v>25.234165329846199</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9.2013176864544484</c:v>
                </c:pt>
                <c:pt idx="1">
                  <c:v>9.4514220187822495</c:v>
                </c:pt>
                <c:pt idx="2">
                  <c:v>11.323756376823715</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D$2:$D$4</c:f>
              <c:numCache>
                <c:formatCode>#,##0.0</c:formatCode>
                <c:ptCount val="3"/>
                <c:pt idx="0">
                  <c:v>39.255165420472913</c:v>
                </c:pt>
                <c:pt idx="1">
                  <c:v>39.051455663931264</c:v>
                </c:pt>
                <c:pt idx="2">
                  <c:v>39.584394553375255</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E$2:$E$4</c:f>
              <c:numCache>
                <c:formatCode>#,##0.0</c:formatCode>
                <c:ptCount val="3"/>
                <c:pt idx="0">
                  <c:v>12.989415579926018</c:v>
                </c:pt>
                <c:pt idx="1">
                  <c:v>13.023682210764095</c:v>
                </c:pt>
                <c:pt idx="2">
                  <c:v>11.021926389976509</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F$2:$F$4</c:f>
              <c:numCache>
                <c:formatCode>#,##0.0</c:formatCode>
                <c:ptCount val="3"/>
                <c:pt idx="0">
                  <c:v>16.040198300597826</c:v>
                </c:pt>
                <c:pt idx="1">
                  <c:v>16.265374955315039</c:v>
                </c:pt>
                <c:pt idx="2">
                  <c:v>12.835757349978334</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28.70828963274613</c:v>
                </c:pt>
                <c:pt idx="1">
                  <c:v>28.399462765329204</c:v>
                </c:pt>
                <c:pt idx="2" formatCode="#,##0.0">
                  <c:v>30.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41.555902088108759</c:v>
                </c:pt>
                <c:pt idx="1">
                  <c:v>42.725477774104526</c:v>
                </c:pt>
                <c:pt idx="2" formatCode="#,##0.0">
                  <c:v>45.7</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D$2:$D$4</c:f>
              <c:numCache>
                <c:formatCode>0.0</c:formatCode>
                <c:ptCount val="3"/>
                <c:pt idx="0">
                  <c:v>29.735808279145072</c:v>
                </c:pt>
                <c:pt idx="1">
                  <c:v>28.875059460566249</c:v>
                </c:pt>
                <c:pt idx="2" formatCode="#,##0.0">
                  <c:v>24</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B$2:$B$4</c:f>
              <c:numCache>
                <c:formatCode>#,##0.0</c:formatCode>
                <c:ptCount val="3"/>
                <c:pt idx="0">
                  <c:v>11.12595967644428</c:v>
                </c:pt>
                <c:pt idx="1">
                  <c:v>10.962591300115909</c:v>
                </c:pt>
                <c:pt idx="2">
                  <c:v>10.156268724684226</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C$2:$C$4</c:f>
              <c:numCache>
                <c:formatCode>#,##0.0</c:formatCode>
                <c:ptCount val="3"/>
                <c:pt idx="0">
                  <c:v>26.487129599470212</c:v>
                </c:pt>
                <c:pt idx="1">
                  <c:v>25.231126134035375</c:v>
                </c:pt>
                <c:pt idx="2">
                  <c:v>28.238920978836614</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D$2:$D$4</c:f>
              <c:numCache>
                <c:formatCode>#,##0.0</c:formatCode>
                <c:ptCount val="3"/>
                <c:pt idx="0">
                  <c:v>28.716889020511388</c:v>
                </c:pt>
                <c:pt idx="1">
                  <c:v>30.789995477690791</c:v>
                </c:pt>
                <c:pt idx="2">
                  <c:v>37.812777125326555</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Carolina</c:v>
                </c:pt>
              </c:strCache>
            </c:strRef>
          </c:cat>
          <c:val>
            <c:numRef>
              <c:f>Sheet1!$E$2:$E$4</c:f>
              <c:numCache>
                <c:formatCode>#,##0.0</c:formatCode>
                <c:ptCount val="3"/>
                <c:pt idx="0">
                  <c:v>33.670021703574122</c:v>
                </c:pt>
                <c:pt idx="1">
                  <c:v>33.016287088157931</c:v>
                </c:pt>
                <c:pt idx="2">
                  <c:v>23.792033171152603</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7.3886297573176494</c:v>
                </c:pt>
                <c:pt idx="1">
                  <c:v>8.4296091317883093</c:v>
                </c:pt>
                <c:pt idx="2">
                  <c:v>8.376218110150004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6.8714562171035292</c:v>
                </c:pt>
                <c:pt idx="1">
                  <c:v>8.2833851314686004</c:v>
                </c:pt>
                <c:pt idx="2">
                  <c:v>7.3869571705715567</c:v>
                </c:pt>
                <c:pt idx="3">
                  <c:v>8.374457019591618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4.335745427437633</c:v>
                </c:pt>
                <c:pt idx="1">
                  <c:v>6.4279019288638937</c:v>
                </c:pt>
                <c:pt idx="2">
                  <c:v>6.5512610058200265</c:v>
                </c:pt>
                <c:pt idx="3">
                  <c:v>2.79985816021985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3.83589244771764</c:v>
                </c:pt>
                <c:pt idx="1">
                  <c:v>33.473780394943908</c:v>
                </c:pt>
                <c:pt idx="2">
                  <c:v>22.037196541933838</c:v>
                </c:pt>
                <c:pt idx="3">
                  <c:v>13.190106517421917</c:v>
                </c:pt>
                <c:pt idx="4">
                  <c:v>10.901323042998898</c:v>
                </c:pt>
                <c:pt idx="5" formatCode="0.0">
                  <c:v>6.059282371294851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10.375993468172846</c:v>
                </c:pt>
                <c:pt idx="1">
                  <c:v>12.317455067850389</c:v>
                </c:pt>
                <c:pt idx="2">
                  <c:v>16.378143183438922</c:v>
                </c:pt>
                <c:pt idx="3">
                  <c:v>8.511528881631303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id-Carolina</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25655177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6571422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6A2872E-62A0-7BC4-A1B1-9551AE2137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831" y="1028700"/>
            <a:ext cx="7594264" cy="5370338"/>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7DE9584-4BF9-7736-2320-2B86C66572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830" y="1031611"/>
            <a:ext cx="7592639" cy="5369189"/>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A921105-CB85-3541-1DAD-C24198FCD8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830" y="1028700"/>
            <a:ext cx="7596755"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90499946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A47A15E1-B972-5EE3-D405-03BEAD448F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7084"/>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14599931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BC50E41A-5A83-B6FE-F84C-D6E969B9B7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4755698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7" name="Picture 6" descr="Map&#10;&#10;Description automatically generated">
            <a:extLst>
              <a:ext uri="{FF2B5EF4-FFF2-40B4-BE49-F238E27FC236}">
                <a16:creationId xmlns:a16="http://schemas.microsoft.com/office/drawing/2014/main" id="{7FB7311E-1455-EE75-0F47-85684E72B4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6922310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5034C3D-4C07-657B-7D74-851CD57014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8667367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B3A774E-2991-5554-3B0F-3C6175BECB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8379330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17" name="Picture 16" descr="Map&#10;&#10;Description automatically generated">
            <a:extLst>
              <a:ext uri="{FF2B5EF4-FFF2-40B4-BE49-F238E27FC236}">
                <a16:creationId xmlns:a16="http://schemas.microsoft.com/office/drawing/2014/main" id="{D37853D6-95C6-F9D0-8FB6-6C91569CD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6438046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descr="Map&#10;&#10;Description automatically generated">
            <a:extLst>
              <a:ext uri="{FF2B5EF4-FFF2-40B4-BE49-F238E27FC236}">
                <a16:creationId xmlns:a16="http://schemas.microsoft.com/office/drawing/2014/main" id="{B16CCFD3-16BF-281C-BE78-805A0D82C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738" y="1155000"/>
            <a:ext cx="7239000" cy="511911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2332493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14B622DC-B068-3767-1E90-851C283344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2955"/>
            <a:ext cx="7244786" cy="512320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69726184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E213ACB-7F83-862D-2D9E-3F7276502E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0765083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8A52F08-FF32-6021-4D35-ED9B6DC509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0254187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C954EDB-B6F0-917F-5197-0AED70812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3064" y="1155001"/>
            <a:ext cx="7239000" cy="51191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09699386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AD274E62-4FD6-F91B-3095-F8C00866A1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0969" y="1155001"/>
            <a:ext cx="7239000" cy="511911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91879692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E2068AD-5EFF-A171-7100-62707DE5A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705786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19817ED3-BC42-9CCF-3C7E-7CEA574D8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842332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6D74CDF1-F02B-8F48-3F46-E96C21D747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407832674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08866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2C7B7529-E351-FCDC-C162-F7084A09E0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05376794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9159426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70238080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3299" y="341348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8</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97897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755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11152373" y="2785384"/>
            <a:ext cx="0" cy="62810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346650"/>
            <a:ext cx="0" cy="62561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835839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85862761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287279912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89416160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51428329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54990813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75537701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0654486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57</TotalTime>
  <Words>1476</Words>
  <Application>Microsoft Office PowerPoint</Application>
  <PresentationFormat>Widescreen</PresentationFormat>
  <Paragraphs>144</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07T00:43:45Z</dcterms:modified>
</cp:coreProperties>
</file>